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7"/>
  </p:notesMasterIdLst>
  <p:sldIdLst>
    <p:sldId id="257" r:id="rId6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64" d="100"/>
          <a:sy n="164" d="100"/>
        </p:scale>
        <p:origin x="-2268" y="-35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0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DD6D76-EBB9-4917-ABCB-6DBBDE4A6492}" type="datetimeFigureOut">
              <a:rPr lang="en-US" smtClean="0"/>
              <a:t>4/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02BA88-B2AA-4556-8468-B77C37CF44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408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567C5D-4358-324F-8208-AF72E8EC0DA6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43382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020324"/>
            <a:ext cx="9144000" cy="1524000"/>
          </a:xfrm>
          <a:prstGeom prst="rect">
            <a:avLst/>
          </a:prstGeom>
          <a:gradFill flip="none" rotWithShape="1">
            <a:gsLst>
              <a:gs pos="73000">
                <a:schemeClr val="bg1"/>
              </a:gs>
              <a:gs pos="13000">
                <a:schemeClr val="bg1">
                  <a:alpha val="82000"/>
                </a:schemeClr>
              </a:gs>
              <a:gs pos="0">
                <a:schemeClr val="accent2">
                  <a:alpha val="30000"/>
                </a:schemeClr>
              </a:gs>
              <a:gs pos="51000">
                <a:srgbClr val="F9FAFA">
                  <a:alpha val="79000"/>
                </a:srgbClr>
              </a:gs>
              <a:gs pos="61000">
                <a:srgbClr val="F8FAF9">
                  <a:alpha val="54000"/>
                </a:srgbClr>
              </a:gs>
              <a:gs pos="92000">
                <a:schemeClr val="bg1">
                  <a:lumMod val="0"/>
                  <a:lumOff val="100000"/>
                  <a:alpha val="88000"/>
                </a:schemeClr>
              </a:gs>
              <a:gs pos="95000">
                <a:schemeClr val="accent2">
                  <a:alpha val="40000"/>
                </a:schemeClr>
              </a:gs>
              <a:gs pos="100000">
                <a:schemeClr val="accent2">
                  <a:alpha val="14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 descr="http://sellmore.redlion.net/dist/logo_files/CoporateLogoSet/MSOffice%20for%20Microsoft%20Office%20use/RedLion-logo_MSO.png"/>
          <p:cNvPicPr/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3494046"/>
            <a:ext cx="1600200" cy="68585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-8058" y="3070646"/>
            <a:ext cx="9152057" cy="838200"/>
          </a:xfrm>
          <a:noFill/>
        </p:spPr>
        <p:txBody>
          <a:bodyPr lIns="457200" rIns="3474720" anchor="b" anchorCtr="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0" y="3923230"/>
            <a:ext cx="9144000" cy="553520"/>
          </a:xfrm>
          <a:noFill/>
        </p:spPr>
        <p:txBody>
          <a:bodyPr lIns="457200" rIns="3474720"/>
          <a:lstStyle>
            <a:lvl1pPr marL="0" indent="0" algn="l"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2514600" y="4965385"/>
            <a:ext cx="41148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smtClean="0">
                <a:solidFill>
                  <a:prstClr val="white">
                    <a:lumMod val="65000"/>
                  </a:prstClr>
                </a:solidFill>
              </a:rPr>
              <a:t>CONFIDENTIAL: Contents of this document are for internal Red Lion Controls use only.</a:t>
            </a:r>
            <a:endParaRPr lang="en-US" sz="600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306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CA8D9BE9-D0E9-482C-8F5E-09B5B00E06B8}" type="datetime1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4/3/2018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514600" y="4965385"/>
            <a:ext cx="41148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smtClean="0">
                <a:solidFill>
                  <a:prstClr val="white">
                    <a:lumMod val="65000"/>
                  </a:prstClr>
                </a:solidFill>
              </a:rPr>
              <a:t>CONFIDENTIAL: Contents of this document are for internal Red Lion Controls use only.</a:t>
            </a:r>
            <a:endParaRPr lang="en-US" sz="600" dirty="0">
              <a:solidFill>
                <a:prstClr val="white">
                  <a:lumMod val="65000"/>
                </a:prstClr>
              </a:solidFill>
            </a:endParaRPr>
          </a:p>
        </p:txBody>
      </p:sp>
      <p:pic>
        <p:nvPicPr>
          <p:cNvPr id="6" name="Picture 5" descr="http://sellmore.redlion.net/dist/logo_files/CoporateLogoSet/MSOffice%20for%20Microsoft%20Office%20use/RedLion-logo_MSO.png"/>
          <p:cNvPicPr/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9900" y="246748"/>
            <a:ext cx="1064958" cy="45644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6710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3905250"/>
            <a:ext cx="5791200" cy="3429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b">
            <a:normAutofit/>
          </a:bodyPr>
          <a:lstStyle>
            <a:lvl1pPr algn="l">
              <a:defRPr lang="en-US" sz="2000" b="1" kern="1200" spc="-3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660498" y="361950"/>
            <a:ext cx="5807671" cy="3352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6400" y="4254103"/>
            <a:ext cx="57912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C7A8E424-58F8-42D6-A895-88CA7F5DB9E4}" type="datetime1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4/3/2018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3790950"/>
            <a:ext cx="7772400" cy="0"/>
          </a:xfrm>
          <a:prstGeom prst="line">
            <a:avLst/>
          </a:prstGeom>
          <a:ln w="38100">
            <a:gradFill flip="none" rotWithShape="1">
              <a:gsLst>
                <a:gs pos="84000">
                  <a:srgbClr val="C00000">
                    <a:alpha val="81000"/>
                  </a:srgbClr>
                </a:gs>
                <a:gs pos="0">
                  <a:srgbClr val="C41230"/>
                </a:gs>
                <a:gs pos="100000">
                  <a:schemeClr val="bg1">
                    <a:alpha val="96000"/>
                  </a:schemeClr>
                </a:gs>
              </a:gsLst>
              <a:lin ang="4800000" scaled="0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2514600" y="4965385"/>
            <a:ext cx="41148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smtClean="0">
                <a:solidFill>
                  <a:prstClr val="white">
                    <a:lumMod val="65000"/>
                  </a:prstClr>
                </a:solidFill>
              </a:rPr>
              <a:t>CONFIDENTIAL: Contents of this document are for internal Red Lion Controls use only.</a:t>
            </a:r>
            <a:endParaRPr lang="en-US" sz="600" dirty="0">
              <a:solidFill>
                <a:prstClr val="white">
                  <a:lumMod val="65000"/>
                </a:prstClr>
              </a:solidFill>
            </a:endParaRPr>
          </a:p>
        </p:txBody>
      </p:sp>
      <p:pic>
        <p:nvPicPr>
          <p:cNvPr id="10" name="Picture 9" descr="http://sellmore.redlion.net/dist/logo_files/CoporateLogoSet/MSOffice%20for%20Microsoft%20Office%20use/RedLion-logo_MSO.png"/>
          <p:cNvPicPr/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9900" y="246748"/>
            <a:ext cx="1064958" cy="45644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03556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020324"/>
            <a:ext cx="9144000" cy="1524000"/>
          </a:xfrm>
          <a:prstGeom prst="rect">
            <a:avLst/>
          </a:prstGeom>
          <a:gradFill flip="none" rotWithShape="1">
            <a:gsLst>
              <a:gs pos="73000">
                <a:schemeClr val="bg1"/>
              </a:gs>
              <a:gs pos="13000">
                <a:schemeClr val="bg1">
                  <a:alpha val="82000"/>
                </a:schemeClr>
              </a:gs>
              <a:gs pos="0">
                <a:schemeClr val="accent2">
                  <a:alpha val="30000"/>
                </a:schemeClr>
              </a:gs>
              <a:gs pos="51000">
                <a:srgbClr val="F9FAFA">
                  <a:alpha val="79000"/>
                </a:srgbClr>
              </a:gs>
              <a:gs pos="61000">
                <a:srgbClr val="F8FAF9">
                  <a:alpha val="54000"/>
                </a:srgbClr>
              </a:gs>
              <a:gs pos="92000">
                <a:schemeClr val="bg1">
                  <a:lumMod val="0"/>
                  <a:lumOff val="100000"/>
                  <a:alpha val="88000"/>
                </a:schemeClr>
              </a:gs>
              <a:gs pos="95000">
                <a:schemeClr val="accent2">
                  <a:alpha val="40000"/>
                </a:schemeClr>
              </a:gs>
              <a:gs pos="100000">
                <a:schemeClr val="accent2">
                  <a:alpha val="14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 descr="http://sellmore.redlion.net/dist/logo_files/CoporateLogoSet/MSOffice%20for%20Microsoft%20Office%20use/RedLion-logo_MSO.png"/>
          <p:cNvPicPr/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3494046"/>
            <a:ext cx="1600200" cy="68585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-8058" y="3070646"/>
            <a:ext cx="9152057" cy="838200"/>
          </a:xfrm>
          <a:noFill/>
        </p:spPr>
        <p:txBody>
          <a:bodyPr lIns="457200" rIns="3474720" anchor="b" anchorCtr="0"/>
          <a:lstStyle>
            <a:lvl1pPr>
              <a:defRPr baseline="0"/>
            </a:lvl1pPr>
          </a:lstStyle>
          <a:p>
            <a:r>
              <a:rPr lang="en-US" dirty="0" smtClean="0"/>
              <a:t>Thank you.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2514600" y="4965385"/>
            <a:ext cx="41148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smtClean="0">
                <a:solidFill>
                  <a:prstClr val="white">
                    <a:lumMod val="65000"/>
                  </a:prstClr>
                </a:solidFill>
              </a:rPr>
              <a:t>CONFIDENTIAL: Contents of this document are for internal Red Lion Controls use only.</a:t>
            </a:r>
            <a:endParaRPr lang="en-US" sz="6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0" y="3799576"/>
            <a:ext cx="9144000" cy="781752"/>
          </a:xfrm>
          <a:prstGeom prst="rect">
            <a:avLst/>
          </a:prstGeom>
          <a:noFill/>
        </p:spPr>
        <p:txBody>
          <a:bodyPr wrap="square" lIns="457200" rtlCol="0">
            <a:spAutoFit/>
          </a:bodyPr>
          <a:lstStyle/>
          <a:p>
            <a:r>
              <a:rPr lang="en-US" sz="1400" dirty="0" smtClean="0">
                <a:solidFill>
                  <a:prstClr val="black"/>
                </a:solidFill>
              </a:rPr>
              <a:t>For more information</a:t>
            </a:r>
          </a:p>
          <a:p>
            <a:pPr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prstClr val="white">
                    <a:lumMod val="50000"/>
                  </a:prstClr>
                </a:solidFill>
              </a:rPr>
              <a:t>20 Willow Springs Circle | York, PA 17406 USA</a:t>
            </a:r>
          </a:p>
          <a:p>
            <a:r>
              <a:rPr lang="en-US" sz="1400" dirty="0" smtClean="0">
                <a:solidFill>
                  <a:prstClr val="white">
                    <a:lumMod val="50000"/>
                  </a:prstClr>
                </a:solidFill>
              </a:rPr>
              <a:t>+1 (717) 767-6511 | www.redlion.net | info@redlion.net</a:t>
            </a:r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215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388091" y="3943350"/>
            <a:ext cx="7419976" cy="952500"/>
          </a:xfrm>
          <a:prstGeom prst="rect">
            <a:avLst/>
          </a:prstGeom>
          <a:noFill/>
        </p:spPr>
        <p:txBody>
          <a:bodyPr lIns="68579" tIns="34289" rIns="68579" bIns="34289" anchor="t"/>
          <a:lstStyle>
            <a:lvl1pPr marL="0" indent="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None/>
              <a:defRPr sz="1800" b="0" i="0" baseline="0">
                <a:solidFill>
                  <a:schemeClr val="bg1">
                    <a:lumMod val="65000"/>
                  </a:schemeClr>
                </a:solidFill>
                <a:latin typeface="+mn-lt"/>
                <a:cs typeface="Helvetica"/>
              </a:defRPr>
            </a:lvl1pPr>
          </a:lstStyle>
          <a:p>
            <a:pPr lvl="0"/>
            <a:r>
              <a:rPr lang="en-US" dirty="0"/>
              <a:t>Presenter | Date (24 Pt. Calibri)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1374445" y="3249447"/>
            <a:ext cx="7410451" cy="438150"/>
          </a:xfrm>
          <a:prstGeom prst="rect">
            <a:avLst/>
          </a:prstGeom>
          <a:noFill/>
        </p:spPr>
        <p:txBody>
          <a:bodyPr lIns="68579" tIns="34289" rIns="68579" bIns="34289" anchor="b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None/>
              <a:defRPr sz="2400" b="1" i="0" baseline="0">
                <a:solidFill>
                  <a:schemeClr val="tx1"/>
                </a:solidFill>
                <a:latin typeface="+mj-lt"/>
                <a:cs typeface="Helvetica"/>
              </a:defRPr>
            </a:lvl1pPr>
          </a:lstStyle>
          <a:p>
            <a:pPr lvl="0"/>
            <a:r>
              <a:rPr lang="en-US" dirty="0"/>
              <a:t>Title (32 Pt. Corbel Bold)</a:t>
            </a:r>
          </a:p>
        </p:txBody>
      </p:sp>
    </p:spTree>
    <p:extLst>
      <p:ext uri="{BB962C8B-B14F-4D97-AF65-F5344CB8AC3E}">
        <p14:creationId xmlns:p14="http://schemas.microsoft.com/office/powerpoint/2010/main" val="38436624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388091" y="3943350"/>
            <a:ext cx="7419976" cy="952500"/>
          </a:xfrm>
          <a:prstGeom prst="rect">
            <a:avLst/>
          </a:prstGeom>
          <a:noFill/>
        </p:spPr>
        <p:txBody>
          <a:bodyPr lIns="68579" tIns="34289" rIns="68579" bIns="34289" anchor="t"/>
          <a:lstStyle>
            <a:lvl1pPr marL="0" indent="0">
              <a:lnSpc>
                <a:spcPct val="100000"/>
              </a:lnSpc>
              <a:spcBef>
                <a:spcPts val="150"/>
              </a:spcBef>
              <a:spcAft>
                <a:spcPts val="150"/>
              </a:spcAft>
              <a:buNone/>
              <a:defRPr sz="1800" b="0" i="0" baseline="0">
                <a:solidFill>
                  <a:schemeClr val="bg1">
                    <a:lumMod val="65000"/>
                  </a:schemeClr>
                </a:solidFill>
                <a:latin typeface="+mn-lt"/>
                <a:cs typeface="Helvetica"/>
              </a:defRPr>
            </a:lvl1pPr>
          </a:lstStyle>
          <a:p>
            <a:pPr lvl="0"/>
            <a:r>
              <a:rPr lang="en-US" dirty="0"/>
              <a:t>Presenter | Date (24 Pt. Calibri)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1374445" y="3249447"/>
            <a:ext cx="7410451" cy="438150"/>
          </a:xfrm>
          <a:prstGeom prst="rect">
            <a:avLst/>
          </a:prstGeom>
          <a:noFill/>
        </p:spPr>
        <p:txBody>
          <a:bodyPr lIns="68579" tIns="34289" rIns="68579" bIns="34289" anchor="b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None/>
              <a:defRPr sz="2400" b="1" i="0" baseline="0">
                <a:solidFill>
                  <a:schemeClr val="tx1"/>
                </a:solidFill>
                <a:latin typeface="+mj-lt"/>
                <a:cs typeface="Helvetica"/>
              </a:defRPr>
            </a:lvl1pPr>
          </a:lstStyle>
          <a:p>
            <a:pPr lvl="0"/>
            <a:r>
              <a:rPr lang="en-US" dirty="0"/>
              <a:t>Title (32 Pt. Corbel Bold)</a:t>
            </a:r>
          </a:p>
        </p:txBody>
      </p:sp>
    </p:spTree>
    <p:extLst>
      <p:ext uri="{BB962C8B-B14F-4D97-AF65-F5344CB8AC3E}">
        <p14:creationId xmlns:p14="http://schemas.microsoft.com/office/powerpoint/2010/main" val="11658954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Divid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8942272" y="4952244"/>
            <a:ext cx="263531" cy="196206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fld id="{D5456C3A-F418-FF44-83C2-F5E37FD98B94}" type="slidenum">
              <a:rPr lang="en-US" sz="800" smtClean="0">
                <a:solidFill>
                  <a:prstClr val="white">
                    <a:lumMod val="75000"/>
                  </a:prstClr>
                </a:solidFill>
                <a:cs typeface="Helvetica"/>
              </a:rPr>
              <a:pPr/>
              <a:t>‹#›</a:t>
            </a:fld>
            <a:endParaRPr lang="en-US" sz="800" dirty="0">
              <a:solidFill>
                <a:prstClr val="white">
                  <a:lumMod val="75000"/>
                </a:prstClr>
              </a:solidFill>
              <a:cs typeface="Helvetica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 rot="10800000">
            <a:off x="1447800" y="3818732"/>
            <a:ext cx="7696200" cy="1191"/>
          </a:xfrm>
          <a:prstGeom prst="line">
            <a:avLst/>
          </a:prstGeom>
          <a:ln w="31750" cap="flat" cmpd="sng" algn="ctr">
            <a:solidFill>
              <a:srgbClr val="E10535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1371600" y="3241675"/>
            <a:ext cx="7406640" cy="438912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latin typeface="Corbel" panose="020B0503020204020204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40777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410068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64825" y="1088082"/>
            <a:ext cx="7620000" cy="3311726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ts val="1650"/>
              </a:lnSpc>
              <a:spcBef>
                <a:spcPts val="900"/>
              </a:spcBef>
              <a:spcAft>
                <a:spcPts val="450"/>
              </a:spcAft>
              <a:buClr>
                <a:srgbClr val="E10535"/>
              </a:buClr>
              <a:buFont typeface="Wingdings" charset="2"/>
              <a:buChar char="§"/>
              <a:defRPr sz="1700" b="1" i="0">
                <a:latin typeface="+mn-lt"/>
                <a:cs typeface="Helvetica"/>
              </a:defRPr>
            </a:lvl1pPr>
            <a:lvl2pPr marL="428625" indent="-214313">
              <a:lnSpc>
                <a:spcPts val="1575"/>
              </a:lnSpc>
              <a:spcBef>
                <a:spcPts val="225"/>
              </a:spcBef>
              <a:spcAft>
                <a:spcPts val="225"/>
              </a:spcAft>
              <a:buFont typeface="Lucida Grande"/>
              <a:buChar char="–"/>
              <a:defRPr sz="1500" b="0" i="0">
                <a:latin typeface="+mn-lt"/>
                <a:cs typeface="Helvetica"/>
              </a:defRPr>
            </a:lvl2pPr>
            <a:lvl3pPr marL="600075" indent="-128588">
              <a:lnSpc>
                <a:spcPts val="1425"/>
              </a:lnSpc>
              <a:spcBef>
                <a:spcPts val="225"/>
              </a:spcBef>
              <a:spcAft>
                <a:spcPts val="225"/>
              </a:spcAft>
              <a:buFont typeface="Calibri" pitchFamily="34" charset="0"/>
              <a:buChar char="-"/>
              <a:defRPr sz="1400" b="0" i="1">
                <a:latin typeface="+mn-lt"/>
                <a:cs typeface="Helvetica"/>
              </a:defRPr>
            </a:lvl3pPr>
            <a:lvl4pPr marL="1285875" indent="-257175">
              <a:buFont typeface="Arial" pitchFamily="34" charset="0"/>
              <a:buChar char="•"/>
              <a:defRPr sz="1800"/>
            </a:lvl4pPr>
            <a:lvl5pPr marL="1371600" indent="0">
              <a:buFont typeface="Arial" pitchFamily="34" charset="0"/>
              <a:buNone/>
              <a:defRPr sz="1800"/>
            </a:lvl5pPr>
          </a:lstStyle>
          <a:p>
            <a:r>
              <a:rPr lang="en-US" dirty="0"/>
              <a:t>First level bullet (22 Pt. Calibri Bold)</a:t>
            </a:r>
          </a:p>
          <a:p>
            <a:pPr lvl="1"/>
            <a:r>
              <a:rPr lang="en-US" dirty="0"/>
              <a:t>Second level bullet (20 Pt. Calibri)</a:t>
            </a:r>
          </a:p>
          <a:p>
            <a:pPr lvl="2"/>
            <a:r>
              <a:rPr lang="en-US" dirty="0"/>
              <a:t>Third level bullet (18 Pt. Calibri Italic)</a:t>
            </a:r>
          </a:p>
          <a:p>
            <a:pPr lvl="2"/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1209674" y="161925"/>
            <a:ext cx="7705725" cy="514350"/>
          </a:xfrm>
          <a:prstGeom prst="rect">
            <a:avLst/>
          </a:prstGeom>
          <a:noFill/>
        </p:spPr>
        <p:txBody>
          <a:bodyPr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700" b="1" i="0" baseline="0">
                <a:solidFill>
                  <a:schemeClr val="bg1"/>
                </a:solidFill>
                <a:latin typeface="+mj-lt"/>
                <a:cs typeface="Helvetica"/>
              </a:defRPr>
            </a:lvl1pPr>
          </a:lstStyle>
          <a:p>
            <a:pPr lvl="0"/>
            <a:r>
              <a:rPr lang="en-US" dirty="0"/>
              <a:t>Title (36 Pt. Corbel)</a:t>
            </a:r>
          </a:p>
        </p:txBody>
      </p:sp>
    </p:spTree>
    <p:extLst>
      <p:ext uri="{BB962C8B-B14F-4D97-AF65-F5344CB8AC3E}">
        <p14:creationId xmlns:p14="http://schemas.microsoft.com/office/powerpoint/2010/main" val="3972745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020324"/>
            <a:ext cx="9144000" cy="1524000"/>
          </a:xfrm>
          <a:prstGeom prst="rect">
            <a:avLst/>
          </a:prstGeom>
          <a:gradFill flip="none" rotWithShape="1">
            <a:gsLst>
              <a:gs pos="73000">
                <a:schemeClr val="bg1"/>
              </a:gs>
              <a:gs pos="13000">
                <a:schemeClr val="bg1">
                  <a:alpha val="82000"/>
                </a:schemeClr>
              </a:gs>
              <a:gs pos="0">
                <a:schemeClr val="accent2">
                  <a:alpha val="30000"/>
                </a:schemeClr>
              </a:gs>
              <a:gs pos="51000">
                <a:srgbClr val="F9FAFA">
                  <a:alpha val="79000"/>
                </a:srgbClr>
              </a:gs>
              <a:gs pos="61000">
                <a:srgbClr val="F8FAF9">
                  <a:alpha val="54000"/>
                </a:srgbClr>
              </a:gs>
              <a:gs pos="92000">
                <a:schemeClr val="bg1">
                  <a:lumMod val="0"/>
                  <a:lumOff val="100000"/>
                  <a:alpha val="88000"/>
                </a:schemeClr>
              </a:gs>
              <a:gs pos="95000">
                <a:schemeClr val="accent2">
                  <a:alpha val="40000"/>
                </a:schemeClr>
              </a:gs>
              <a:gs pos="100000">
                <a:schemeClr val="accent2">
                  <a:alpha val="1400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6" descr="http://sellmore.redlion.net/dist/logo_files/CoporateLogoSet/MSOffice%20for%20Microsoft%20Office%20use/RedLion-logo_MSO.png"/>
          <p:cNvPicPr/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3494046"/>
            <a:ext cx="1600200" cy="68585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-8058" y="3070646"/>
            <a:ext cx="9152057" cy="838200"/>
          </a:xfrm>
          <a:noFill/>
        </p:spPr>
        <p:txBody>
          <a:bodyPr lIns="457200" rIns="3474720" anchor="b" anchorCtr="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0" y="3923230"/>
            <a:ext cx="9144000" cy="553520"/>
          </a:xfrm>
          <a:noFill/>
        </p:spPr>
        <p:txBody>
          <a:bodyPr lIns="457200" rIns="3474720"/>
          <a:lstStyle>
            <a:lvl1pPr marL="0" indent="0" algn="l"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2514600" y="4965385"/>
            <a:ext cx="41148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smtClean="0">
                <a:solidFill>
                  <a:prstClr val="white">
                    <a:lumMod val="65000"/>
                  </a:prstClr>
                </a:solidFill>
              </a:rPr>
              <a:t>CONFIDENTIAL: Contents of this document are for internal Red Lion Controls use only.</a:t>
            </a:r>
            <a:endParaRPr lang="en-US" sz="600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210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71550"/>
            <a:ext cx="8153400" cy="3886200"/>
          </a:xfrm>
        </p:spPr>
        <p:txBody>
          <a:bodyPr/>
          <a:lstStyle>
            <a:lvl2pPr marL="628650" indent="-287338">
              <a:defRPr/>
            </a:lvl2pPr>
            <a:lvl3pPr marL="912813" indent="-228600">
              <a:defRPr/>
            </a:lvl3pPr>
            <a:lvl4pPr marL="1090613" indent="-223838">
              <a:defRPr/>
            </a:lvl4pPr>
            <a:lvl5pPr marL="1374775" indent="-22860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FC45B0D9-A08B-4419-BB09-02E69E7555D7}" type="datetime1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4/3/2018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420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71550"/>
            <a:ext cx="4038600" cy="3886200"/>
          </a:xfrm>
        </p:spPr>
        <p:txBody>
          <a:bodyPr>
            <a:normAutofit/>
          </a:bodyPr>
          <a:lstStyle>
            <a:lvl1pPr marL="285750" indent="-285750">
              <a:defRPr sz="2000"/>
            </a:lvl1pPr>
            <a:lvl2pPr marL="576263" indent="-285750">
              <a:defRPr sz="1800"/>
            </a:lvl2pPr>
            <a:lvl3pPr marL="738188" indent="-228600">
              <a:defRPr sz="1600"/>
            </a:lvl3pPr>
            <a:lvl4pPr marL="971550" indent="-228600">
              <a:defRPr sz="1400"/>
            </a:lvl4pPr>
            <a:lvl5pPr marL="1087438" indent="-228600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F9CFBDC5-42F4-4B73-900B-84BFD4C5C244}" type="datetime1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4/3/2018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4572000" y="971550"/>
            <a:ext cx="4038600" cy="3886200"/>
          </a:xfrm>
        </p:spPr>
        <p:txBody>
          <a:bodyPr>
            <a:normAutofit/>
          </a:bodyPr>
          <a:lstStyle>
            <a:lvl1pPr marL="285750" indent="-285750">
              <a:defRPr sz="2000"/>
            </a:lvl1pPr>
            <a:lvl2pPr marL="576263" indent="-285750">
              <a:defRPr sz="1800"/>
            </a:lvl2pPr>
            <a:lvl3pPr marL="738188" indent="-228600">
              <a:defRPr sz="1600"/>
            </a:lvl3pPr>
            <a:lvl4pPr marL="971550" indent="-228600">
              <a:defRPr sz="1400"/>
            </a:lvl4pPr>
            <a:lvl5pPr marL="1087438" indent="-228600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370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0584"/>
            <a:ext cx="6705600" cy="79552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71550"/>
            <a:ext cx="4040188" cy="47982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b">
            <a:normAutofit/>
          </a:bodyPr>
          <a:lstStyle>
            <a:lvl1pPr marL="0" indent="0" algn="l">
              <a:buNone/>
              <a:defRPr sz="20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457634"/>
            <a:ext cx="4040188" cy="3400116"/>
          </a:xfrm>
          <a:ln w="9525">
            <a:solidFill>
              <a:schemeClr val="accent1"/>
            </a:solidFill>
          </a:ln>
        </p:spPr>
        <p:txBody>
          <a:bodyPr>
            <a:normAutofit/>
          </a:bodyPr>
          <a:lstStyle>
            <a:lvl1pPr marL="285750" indent="-285750">
              <a:defRPr sz="2000"/>
            </a:lvl1pPr>
            <a:lvl2pPr marL="576263" indent="-285750">
              <a:defRPr sz="1800"/>
            </a:lvl2pPr>
            <a:lvl3pPr marL="801688" indent="-228600">
              <a:defRPr sz="1600"/>
            </a:lvl3pPr>
            <a:lvl4pPr marL="971550" indent="-228600">
              <a:defRPr sz="1400"/>
            </a:lvl4pPr>
            <a:lvl5pPr marL="1144588" indent="-174625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3374" y="971550"/>
            <a:ext cx="4041775" cy="479822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b">
            <a:normAutofit/>
          </a:bodyPr>
          <a:lstStyle>
            <a:lvl1pPr marL="0" indent="0" algn="l">
              <a:buNone/>
              <a:defRPr sz="20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D51620A-2ED8-420E-91F5-E44CB908F1A2}" type="datetime1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4/3/2018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566548" y="1457634"/>
            <a:ext cx="4040188" cy="3400116"/>
          </a:xfrm>
          <a:ln w="9525">
            <a:solidFill>
              <a:schemeClr val="accent1"/>
            </a:solidFill>
          </a:ln>
        </p:spPr>
        <p:txBody>
          <a:bodyPr>
            <a:normAutofit/>
          </a:bodyPr>
          <a:lstStyle>
            <a:lvl1pPr marL="285750" indent="-285750">
              <a:defRPr sz="2000"/>
            </a:lvl1pPr>
            <a:lvl2pPr marL="576263" indent="-285750">
              <a:defRPr sz="1800"/>
            </a:lvl2pPr>
            <a:lvl3pPr marL="801688" indent="-228600">
              <a:defRPr sz="1600"/>
            </a:lvl3pPr>
            <a:lvl4pPr marL="971550" indent="-228600">
              <a:defRPr sz="1400"/>
            </a:lvl4pPr>
            <a:lvl5pPr marL="1144588" indent="-174625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4711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0584"/>
            <a:ext cx="6705600" cy="79552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971550"/>
            <a:ext cx="8153400" cy="1905000"/>
          </a:xfrm>
          <a:ln w="9525">
            <a:noFill/>
          </a:ln>
        </p:spPr>
        <p:txBody>
          <a:bodyPr>
            <a:normAutofit/>
          </a:bodyPr>
          <a:lstStyle>
            <a:lvl1pPr marL="285750" indent="-285750">
              <a:defRPr sz="2000"/>
            </a:lvl1pPr>
            <a:lvl2pPr marL="576263" indent="-285750">
              <a:defRPr sz="1800"/>
            </a:lvl2pPr>
            <a:lvl3pPr marL="801688" indent="-228600">
              <a:defRPr sz="1600"/>
            </a:lvl3pPr>
            <a:lvl4pPr marL="971550" indent="-228600">
              <a:defRPr sz="1400"/>
            </a:lvl4pPr>
            <a:lvl5pPr marL="1144588" indent="-174625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D51620A-2ED8-420E-91F5-E44CB908F1A2}" type="datetime1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4/3/2018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57200" y="2952750"/>
            <a:ext cx="8153400" cy="1905000"/>
          </a:xfrm>
          <a:ln w="9525">
            <a:noFill/>
          </a:ln>
        </p:spPr>
        <p:txBody>
          <a:bodyPr>
            <a:normAutofit/>
          </a:bodyPr>
          <a:lstStyle>
            <a:lvl1pPr marL="285750" indent="-285750">
              <a:defRPr sz="2000"/>
            </a:lvl1pPr>
            <a:lvl2pPr marL="576263" indent="-285750">
              <a:defRPr sz="1800"/>
            </a:lvl2pPr>
            <a:lvl3pPr marL="801688" indent="-228600">
              <a:defRPr sz="1600"/>
            </a:lvl3pPr>
            <a:lvl4pPr marL="971550" indent="-228600">
              <a:defRPr sz="1400"/>
            </a:lvl4pPr>
            <a:lvl5pPr marL="1144588" indent="-174625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26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0584"/>
            <a:ext cx="6705600" cy="79552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971550"/>
            <a:ext cx="4040188" cy="1905000"/>
          </a:xfrm>
          <a:ln w="9525">
            <a:noFill/>
          </a:ln>
        </p:spPr>
        <p:txBody>
          <a:bodyPr>
            <a:noAutofit/>
          </a:bodyPr>
          <a:lstStyle>
            <a:lvl1pPr marL="285750" indent="-285750">
              <a:defRPr sz="1600"/>
            </a:lvl1pPr>
            <a:lvl2pPr marL="576263" indent="-285750">
              <a:defRPr sz="1400"/>
            </a:lvl2pPr>
            <a:lvl3pPr marL="801688" indent="-228600">
              <a:defRPr sz="1200"/>
            </a:lvl3pPr>
            <a:lvl4pPr marL="971550" indent="-228600">
              <a:defRPr sz="1100"/>
            </a:lvl4pPr>
            <a:lvl5pPr marL="1144588" indent="-174625"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D51620A-2ED8-420E-91F5-E44CB908F1A2}" type="datetime1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4/3/2018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57200" y="2952750"/>
            <a:ext cx="4040188" cy="1905000"/>
          </a:xfrm>
          <a:ln w="9525">
            <a:noFill/>
          </a:ln>
        </p:spPr>
        <p:txBody>
          <a:bodyPr>
            <a:normAutofit/>
          </a:bodyPr>
          <a:lstStyle>
            <a:lvl1pPr marL="285750" indent="-285750">
              <a:defRPr sz="1600"/>
            </a:lvl1pPr>
            <a:lvl2pPr marL="576263" indent="-285750">
              <a:defRPr sz="1400"/>
            </a:lvl2pPr>
            <a:lvl3pPr marL="801688" indent="-228600">
              <a:defRPr sz="1200"/>
            </a:lvl3pPr>
            <a:lvl4pPr marL="971550" indent="-228600">
              <a:defRPr sz="1100"/>
            </a:lvl4pPr>
            <a:lvl5pPr marL="1144588" indent="-174625"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5"/>
          </p:nvPr>
        </p:nvSpPr>
        <p:spPr>
          <a:xfrm>
            <a:off x="4572000" y="974066"/>
            <a:ext cx="4040188" cy="1905000"/>
          </a:xfrm>
          <a:ln w="9525">
            <a:noFill/>
          </a:ln>
        </p:spPr>
        <p:txBody>
          <a:bodyPr>
            <a:normAutofit/>
          </a:bodyPr>
          <a:lstStyle>
            <a:lvl1pPr marL="285750" indent="-285750">
              <a:defRPr sz="1600"/>
            </a:lvl1pPr>
            <a:lvl2pPr marL="576263" indent="-285750">
              <a:defRPr sz="1400"/>
            </a:lvl2pPr>
            <a:lvl3pPr marL="801688" indent="-228600">
              <a:defRPr sz="1200"/>
            </a:lvl3pPr>
            <a:lvl4pPr marL="971550" indent="-228600">
              <a:defRPr sz="1100"/>
            </a:lvl4pPr>
            <a:lvl5pPr marL="1144588" indent="-174625"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6"/>
          </p:nvPr>
        </p:nvSpPr>
        <p:spPr>
          <a:xfrm>
            <a:off x="4572000" y="2952750"/>
            <a:ext cx="4040188" cy="1905000"/>
          </a:xfrm>
          <a:ln w="9525">
            <a:noFill/>
          </a:ln>
        </p:spPr>
        <p:txBody>
          <a:bodyPr>
            <a:normAutofit/>
          </a:bodyPr>
          <a:lstStyle>
            <a:lvl1pPr marL="285750" indent="-285750">
              <a:defRPr sz="1400"/>
            </a:lvl1pPr>
            <a:lvl2pPr marL="576263" indent="-285750">
              <a:defRPr sz="1200"/>
            </a:lvl2pPr>
            <a:lvl3pPr marL="801688" indent="-228600">
              <a:defRPr sz="1100"/>
            </a:lvl3pPr>
            <a:lvl4pPr marL="971550" indent="-228600">
              <a:defRPr sz="1050"/>
            </a:lvl4pPr>
            <a:lvl5pPr marL="1144588" indent="-174625"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172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0584"/>
            <a:ext cx="6705600" cy="79552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200400" y="971550"/>
            <a:ext cx="2667000" cy="1905000"/>
          </a:xfrm>
          <a:ln w="9525">
            <a:noFill/>
          </a:ln>
        </p:spPr>
        <p:txBody>
          <a:bodyPr>
            <a:noAutofit/>
          </a:bodyPr>
          <a:lstStyle>
            <a:lvl1pPr marL="285750" indent="-285750">
              <a:defRPr sz="1200"/>
            </a:lvl1pPr>
            <a:lvl2pPr marL="576263" indent="-285750">
              <a:defRPr sz="1100"/>
            </a:lvl2pPr>
            <a:lvl3pPr marL="801688" indent="-228600">
              <a:defRPr sz="1050"/>
            </a:lvl3pPr>
            <a:lvl4pPr marL="971550" indent="-228600">
              <a:defRPr sz="1000"/>
            </a:lvl4pPr>
            <a:lvl5pPr marL="1144588" indent="-174625"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D51620A-2ED8-420E-91F5-E44CB908F1A2}" type="datetime1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4/3/2018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half" idx="13"/>
          </p:nvPr>
        </p:nvSpPr>
        <p:spPr>
          <a:xfrm>
            <a:off x="457200" y="965440"/>
            <a:ext cx="2667000" cy="1905000"/>
          </a:xfrm>
          <a:ln w="9525">
            <a:noFill/>
          </a:ln>
        </p:spPr>
        <p:txBody>
          <a:bodyPr>
            <a:noAutofit/>
          </a:bodyPr>
          <a:lstStyle>
            <a:lvl1pPr marL="285750" indent="-285750">
              <a:defRPr sz="1200"/>
            </a:lvl1pPr>
            <a:lvl2pPr marL="576263" indent="-285750">
              <a:defRPr sz="1100"/>
            </a:lvl2pPr>
            <a:lvl3pPr marL="801688" indent="-228600">
              <a:defRPr sz="1050"/>
            </a:lvl3pPr>
            <a:lvl4pPr marL="971550" indent="-228600">
              <a:defRPr sz="1000"/>
            </a:lvl4pPr>
            <a:lvl5pPr marL="1144588" indent="-174625"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14"/>
          </p:nvPr>
        </p:nvSpPr>
        <p:spPr>
          <a:xfrm>
            <a:off x="5943600" y="971550"/>
            <a:ext cx="2670048" cy="1905000"/>
          </a:xfrm>
          <a:ln w="9525">
            <a:noFill/>
          </a:ln>
        </p:spPr>
        <p:txBody>
          <a:bodyPr>
            <a:noAutofit/>
          </a:bodyPr>
          <a:lstStyle>
            <a:lvl1pPr marL="285750" indent="-285750">
              <a:defRPr sz="1200"/>
            </a:lvl1pPr>
            <a:lvl2pPr marL="576263" indent="-285750">
              <a:defRPr sz="1100"/>
            </a:lvl2pPr>
            <a:lvl3pPr marL="801688" indent="-228600">
              <a:defRPr sz="1050"/>
            </a:lvl3pPr>
            <a:lvl4pPr marL="971550" indent="-228600">
              <a:defRPr sz="1000"/>
            </a:lvl4pPr>
            <a:lvl5pPr marL="1144588" indent="-174625"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3200400" y="2952750"/>
            <a:ext cx="2667000" cy="1905000"/>
          </a:xfrm>
          <a:ln w="9525">
            <a:noFill/>
          </a:ln>
        </p:spPr>
        <p:txBody>
          <a:bodyPr>
            <a:noAutofit/>
          </a:bodyPr>
          <a:lstStyle>
            <a:lvl1pPr marL="285750" indent="-285750">
              <a:defRPr sz="1200"/>
            </a:lvl1pPr>
            <a:lvl2pPr marL="576263" indent="-285750">
              <a:defRPr sz="1100"/>
            </a:lvl2pPr>
            <a:lvl3pPr marL="801688" indent="-228600">
              <a:defRPr sz="1050"/>
            </a:lvl3pPr>
            <a:lvl4pPr marL="971550" indent="-228600">
              <a:defRPr sz="1000"/>
            </a:lvl4pPr>
            <a:lvl5pPr marL="1144588" indent="-174625"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6"/>
          </p:nvPr>
        </p:nvSpPr>
        <p:spPr>
          <a:xfrm>
            <a:off x="457200" y="2946640"/>
            <a:ext cx="2667000" cy="1905000"/>
          </a:xfrm>
          <a:ln w="9525">
            <a:noFill/>
          </a:ln>
        </p:spPr>
        <p:txBody>
          <a:bodyPr>
            <a:noAutofit/>
          </a:bodyPr>
          <a:lstStyle>
            <a:lvl1pPr marL="285750" indent="-285750">
              <a:defRPr sz="1200"/>
            </a:lvl1pPr>
            <a:lvl2pPr marL="576263" indent="-285750">
              <a:defRPr sz="1100"/>
            </a:lvl2pPr>
            <a:lvl3pPr marL="801688" indent="-228600">
              <a:defRPr sz="1050"/>
            </a:lvl3pPr>
            <a:lvl4pPr marL="971550" indent="-228600">
              <a:defRPr sz="1000"/>
            </a:lvl4pPr>
            <a:lvl5pPr marL="1144588" indent="-174625"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Content Placeholder 3"/>
          <p:cNvSpPr>
            <a:spLocks noGrp="1"/>
          </p:cNvSpPr>
          <p:nvPr>
            <p:ph sz="half" idx="17"/>
          </p:nvPr>
        </p:nvSpPr>
        <p:spPr>
          <a:xfrm>
            <a:off x="5943600" y="2952750"/>
            <a:ext cx="2670048" cy="1905000"/>
          </a:xfrm>
          <a:ln w="9525">
            <a:noFill/>
          </a:ln>
        </p:spPr>
        <p:txBody>
          <a:bodyPr>
            <a:noAutofit/>
          </a:bodyPr>
          <a:lstStyle>
            <a:lvl1pPr marL="285750" indent="-285750">
              <a:defRPr sz="1200"/>
            </a:lvl1pPr>
            <a:lvl2pPr marL="576263" indent="-285750">
              <a:defRPr sz="1100"/>
            </a:lvl2pPr>
            <a:lvl3pPr marL="801688" indent="-228600">
              <a:defRPr sz="1050"/>
            </a:lvl3pPr>
            <a:lvl4pPr marL="971550" indent="-228600">
              <a:defRPr sz="1000"/>
            </a:lvl4pPr>
            <a:lvl5pPr marL="1144588" indent="-174625"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847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3A643560-72AD-4ACB-B7F5-318D149A17C1}" type="datetime1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4/3/2018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888706"/>
            <a:ext cx="2133600" cy="273844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511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02616"/>
            <a:ext cx="6705600" cy="79273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71550"/>
            <a:ext cx="82296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 descr="http://sellmore.redlion.net/dist/logo_files/CoporateLogoSet/MSOffice%20for%20Microsoft%20Office%20use/RedLion-logo_MSO.png"/>
          <p:cNvPicPr/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9900" y="246748"/>
            <a:ext cx="1064958" cy="45644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9" name="Straight Connector 8"/>
          <p:cNvCxnSpPr/>
          <p:nvPr/>
        </p:nvCxnSpPr>
        <p:spPr>
          <a:xfrm>
            <a:off x="0" y="887399"/>
            <a:ext cx="7772400" cy="0"/>
          </a:xfrm>
          <a:prstGeom prst="line">
            <a:avLst/>
          </a:prstGeom>
          <a:ln w="38100">
            <a:gradFill flip="none" rotWithShape="1">
              <a:gsLst>
                <a:gs pos="84000">
                  <a:srgbClr val="C00000">
                    <a:alpha val="81000"/>
                  </a:srgbClr>
                </a:gs>
                <a:gs pos="0">
                  <a:srgbClr val="C41230"/>
                </a:gs>
                <a:gs pos="100000">
                  <a:schemeClr val="bg1">
                    <a:alpha val="96000"/>
                  </a:schemeClr>
                </a:gs>
              </a:gsLst>
              <a:lin ang="4800000" scaled="0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2514600" y="4965385"/>
            <a:ext cx="41148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smtClean="0">
                <a:solidFill>
                  <a:prstClr val="white">
                    <a:lumMod val="65000"/>
                  </a:prstClr>
                </a:solidFill>
              </a:rPr>
              <a:t>©Red</a:t>
            </a:r>
            <a:r>
              <a:rPr lang="en-US" sz="600" baseline="0" dirty="0" smtClean="0">
                <a:solidFill>
                  <a:prstClr val="white">
                    <a:lumMod val="65000"/>
                  </a:prstClr>
                </a:solidFill>
              </a:rPr>
              <a:t> Lion Controls</a:t>
            </a:r>
            <a:endParaRPr lang="en-US" sz="600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488791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3A3A7048-B073-40E1-BF85-BA7A6B0F3C9D}" type="datetime1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4/3/2018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6553200" y="488791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D2B03A2F-DAE2-4FC5-A759-652AAEE6B9EB}" type="slidenum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547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31825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13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90613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775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microsoft.com/office/2007/relationships/hdphoto" Target="../media/hdphoto2.wdp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ccess Story | </a:t>
            </a:r>
            <a:r>
              <a:rPr lang="en-US" b="0" dirty="0" smtClean="0"/>
              <a:t>Water/Waste Water</a:t>
            </a:r>
            <a:endParaRPr lang="en-US" b="0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3127248" y="1581150"/>
            <a:ext cx="0" cy="28956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6016752" y="1581150"/>
            <a:ext cx="0" cy="28956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54948" y="1123950"/>
            <a:ext cx="2362200" cy="3462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>
            <a:defPPr>
              <a:defRPr lang="en-US"/>
            </a:defPPr>
            <a:lvl1pPr algn="ctr"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rgbClr val="0057BA"/>
                </a:solidFill>
              </a:rPr>
              <a:t>Situation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3438144" y="1123951"/>
            <a:ext cx="2467356" cy="1831777"/>
            <a:chOff x="3438144" y="1123950"/>
            <a:chExt cx="2467356" cy="1831777"/>
          </a:xfrm>
        </p:grpSpPr>
        <p:sp>
          <p:nvSpPr>
            <p:cNvPr id="12" name="TextBox 11"/>
            <p:cNvSpPr txBox="1"/>
            <p:nvPr/>
          </p:nvSpPr>
          <p:spPr>
            <a:xfrm>
              <a:off x="3543300" y="2647950"/>
              <a:ext cx="2362200" cy="307777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chemeClr val="tx2">
                      <a:lumMod val="50000"/>
                    </a:schemeClr>
                  </a:solidFill>
                </a:defRPr>
              </a:lvl1pPr>
            </a:lstStyle>
            <a:p>
              <a:endParaRPr lang="en-US" dirty="0">
                <a:solidFill>
                  <a:srgbClr val="595959">
                    <a:lumMod val="50000"/>
                  </a:srgbClr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438144" y="1123950"/>
              <a:ext cx="2362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rgbClr val="0057BA"/>
                  </a:solidFill>
                </a:rPr>
                <a:t>Solution</a:t>
              </a:r>
              <a:endParaRPr lang="en-US" dirty="0">
                <a:solidFill>
                  <a:srgbClr val="0057BA"/>
                </a:solidFill>
              </a:endParaRP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6362700" y="1123951"/>
            <a:ext cx="2362200" cy="3462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en-US" dirty="0" smtClean="0">
                <a:solidFill>
                  <a:srgbClr val="0057BA"/>
                </a:solidFill>
              </a:rPr>
              <a:t>Value</a:t>
            </a:r>
            <a:endParaRPr lang="en-US" dirty="0">
              <a:solidFill>
                <a:srgbClr val="0057BA"/>
              </a:solidFill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5238" l="3041" r="94932">
                        <a14:foregroundMark x1="13514" y1="34286" x2="13514" y2="34286"/>
                        <a14:foregroundMark x1="20608" y1="38571" x2="20608" y2="38571"/>
                        <a14:foregroundMark x1="31081" y1="70952" x2="31081" y2="70952"/>
                        <a14:foregroundMark x1="36486" y1="70476" x2="34122" y2="76190"/>
                        <a14:foregroundMark x1="81081" y1="30476" x2="87500" y2="38095"/>
                        <a14:foregroundMark x1="46959" y1="83810" x2="46284" y2="84286"/>
                        <a14:foregroundMark x1="42568" y1="76190" x2="41554" y2="80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88" y="1657350"/>
            <a:ext cx="1226089" cy="86986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30352" y="2647951"/>
            <a:ext cx="2359152" cy="206979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en-US" sz="1300" dirty="0" smtClean="0">
                <a:solidFill>
                  <a:prstClr val="black"/>
                </a:solidFill>
              </a:rPr>
              <a:t>Faced </a:t>
            </a:r>
            <a:r>
              <a:rPr lang="en-US" sz="1300" dirty="0">
                <a:solidFill>
                  <a:prstClr val="black"/>
                </a:solidFill>
              </a:rPr>
              <a:t>with a legacy SCADA communication </a:t>
            </a:r>
            <a:r>
              <a:rPr lang="en-US" sz="1300" dirty="0" smtClean="0">
                <a:solidFill>
                  <a:prstClr val="black"/>
                </a:solidFill>
              </a:rPr>
              <a:t>network and needing to scale for changing requirements, a county municipality serving over 1M people across roughly 39,000 acres needed to upgrade </a:t>
            </a:r>
            <a:r>
              <a:rPr lang="en-US" sz="1300" dirty="0">
                <a:solidFill>
                  <a:prstClr val="black"/>
                </a:solidFill>
              </a:rPr>
              <a:t>their data collection and management </a:t>
            </a:r>
            <a:r>
              <a:rPr lang="en-US" sz="1300" dirty="0" smtClean="0">
                <a:solidFill>
                  <a:prstClr val="black"/>
                </a:solidFill>
              </a:rPr>
              <a:t>equipment for over 300 lift stations.</a:t>
            </a:r>
            <a:endParaRPr lang="en-US" sz="130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438144" y="2647951"/>
            <a:ext cx="2359152" cy="226985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>
            <a:defPPr>
              <a:defRPr lang="en-US"/>
            </a:defPPr>
            <a:lvl1pPr>
              <a:defRPr sz="1400"/>
            </a:lvl1pPr>
          </a:lstStyle>
          <a:p>
            <a:pPr algn="ctr"/>
            <a:r>
              <a:rPr lang="en-US" sz="1300" dirty="0">
                <a:solidFill>
                  <a:prstClr val="black"/>
                </a:solidFill>
              </a:rPr>
              <a:t>Red Lion </a:t>
            </a:r>
            <a:r>
              <a:rPr lang="en-US" sz="1300" dirty="0" smtClean="0">
                <a:solidFill>
                  <a:prstClr val="black"/>
                </a:solidFill>
              </a:rPr>
              <a:t>recommended a</a:t>
            </a:r>
          </a:p>
          <a:p>
            <a:pPr algn="ctr"/>
            <a:r>
              <a:rPr lang="en-US" sz="1300" dirty="0" smtClean="0">
                <a:solidFill>
                  <a:prstClr val="black"/>
                </a:solidFill>
              </a:rPr>
              <a:t>RAM-6921 cellular RTU for each lift station. Featuring </a:t>
            </a:r>
            <a:r>
              <a:rPr lang="en-US" sz="1300" dirty="0">
                <a:solidFill>
                  <a:prstClr val="black"/>
                </a:solidFill>
              </a:rPr>
              <a:t>a web-based event engine that can trigger built-in I/O or send SMS text messages based on real-time operational </a:t>
            </a:r>
            <a:r>
              <a:rPr lang="en-US" sz="1300" dirty="0" smtClean="0">
                <a:solidFill>
                  <a:prstClr val="black"/>
                </a:solidFill>
              </a:rPr>
              <a:t>data, it can perform advanced control &amp; communications for remote assets in extreme conditions.</a:t>
            </a:r>
            <a:endParaRPr lang="en-US" sz="1300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245352" y="2651760"/>
            <a:ext cx="2443163" cy="200824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>
            <a:defPPr>
              <a:defRPr lang="en-US"/>
            </a:defPPr>
            <a:lvl1pPr>
              <a:defRPr sz="1400"/>
            </a:lvl1pPr>
          </a:lstStyle>
          <a:p>
            <a:pPr algn="ctr"/>
            <a:r>
              <a:rPr lang="en-US" dirty="0" smtClean="0">
                <a:solidFill>
                  <a:prstClr val="black"/>
                </a:solidFill>
              </a:rPr>
              <a:t>With native </a:t>
            </a:r>
            <a:r>
              <a:rPr lang="en-US" dirty="0">
                <a:solidFill>
                  <a:prstClr val="black"/>
                </a:solidFill>
              </a:rPr>
              <a:t>support </a:t>
            </a:r>
            <a:r>
              <a:rPr lang="en-US" dirty="0" smtClean="0">
                <a:solidFill>
                  <a:prstClr val="black"/>
                </a:solidFill>
              </a:rPr>
              <a:t>for Modbus </a:t>
            </a:r>
            <a:r>
              <a:rPr lang="en-US" dirty="0">
                <a:solidFill>
                  <a:prstClr val="black"/>
                </a:solidFill>
              </a:rPr>
              <a:t>and </a:t>
            </a:r>
            <a:r>
              <a:rPr lang="en-US" dirty="0" smtClean="0">
                <a:solidFill>
                  <a:prstClr val="black"/>
                </a:solidFill>
              </a:rPr>
              <a:t>DNP3, and able to communicate directly with the existing PLC and RTU infrastructure, Red Lion’s RAM® cellular RTUs eased the transition to 4G LTE and significantly reduced system</a:t>
            </a:r>
          </a:p>
          <a:p>
            <a:pPr algn="ctr"/>
            <a:r>
              <a:rPr lang="en-US" dirty="0" smtClean="0">
                <a:solidFill>
                  <a:prstClr val="black"/>
                </a:solidFill>
              </a:rPr>
              <a:t> upgrade costs.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547" y="1400427"/>
            <a:ext cx="1383706" cy="1383706"/>
          </a:xfrm>
          <a:prstGeom prst="rect">
            <a:avLst/>
          </a:prstGeom>
        </p:spPr>
      </p:pic>
      <p:pic>
        <p:nvPicPr>
          <p:cNvPr id="2050" name="Picture 2" descr="E:\Images\PPT Icons\Facility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957" y="1657350"/>
            <a:ext cx="2461941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9756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3202017 Red Lion Template Test">
  <a:themeElements>
    <a:clrScheme name="Tuesday Night">
      <a:dk1>
        <a:sysClr val="windowText" lastClr="000000"/>
      </a:dk1>
      <a:lt1>
        <a:sysClr val="window" lastClr="FFFFFF"/>
      </a:lt1>
      <a:dk2>
        <a:srgbClr val="595959"/>
      </a:dk2>
      <a:lt2>
        <a:srgbClr val="EEECE1"/>
      </a:lt2>
      <a:accent1>
        <a:srgbClr val="0057BA"/>
      </a:accent1>
      <a:accent2>
        <a:srgbClr val="BCBEC0"/>
      </a:accent2>
      <a:accent3>
        <a:srgbClr val="C41230"/>
      </a:accent3>
      <a:accent4>
        <a:srgbClr val="9BBB59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ed Lion 2017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81FD1CF094C594380632C8CFAC62E66" ma:contentTypeVersion="0" ma:contentTypeDescription="Create a new document." ma:contentTypeScope="" ma:versionID="90a97a653114ba0e007056d3cb4980cb">
  <xsd:schema xmlns:xsd="http://www.w3.org/2001/XMLSchema" xmlns:xs="http://www.w3.org/2001/XMLSchema" xmlns:p="http://schemas.microsoft.com/office/2006/metadata/properties" xmlns:ns2="ad801722-3630-4150-b0ec-869a968a57f8" targetNamespace="http://schemas.microsoft.com/office/2006/metadata/properties" ma:root="true" ma:fieldsID="e961c5d9477fd1146f4fea5c10e275a6" ns2:_="">
    <xsd:import namespace="ad801722-3630-4150-b0ec-869a968a57f8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801722-3630-4150-b0ec-869a968a57f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ad801722-3630-4150-b0ec-869a968a57f8">QPRHXA2NAAYW-1095-26</_dlc_DocId>
    <_dlc_DocIdUrl xmlns="ad801722-3630-4150-b0ec-869a968a57f8">
      <Url>https://sharepoint.redlion.net/RLCT/st/_layouts/DocIdRedir.aspx?ID=QPRHXA2NAAYW-1095-26</Url>
      <Description>QPRHXA2NAAYW-1095-26</Description>
    </_dlc_DocIdUrl>
  </documentManagement>
</p:properties>
</file>

<file path=customXml/itemProps1.xml><?xml version="1.0" encoding="utf-8"?>
<ds:datastoreItem xmlns:ds="http://schemas.openxmlformats.org/officeDocument/2006/customXml" ds:itemID="{25CBD815-744B-4EB6-A441-89635048FB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d801722-3630-4150-b0ec-869a968a57f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F058683-6C08-4FB9-86C4-D5132481EE3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8B882FC-895E-4A5F-B181-1B5CEB33012C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A7F0294F-9650-49B1-9200-82F7651BF6AA}">
  <ds:schemaRefs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purl.org/dc/terms/"/>
    <ds:schemaRef ds:uri="http://purl.org/dc/elements/1.1/"/>
    <ds:schemaRef ds:uri="http://www.w3.org/XML/1998/namespace"/>
    <ds:schemaRef ds:uri="http://schemas.openxmlformats.org/package/2006/metadata/core-properties"/>
    <ds:schemaRef ds:uri="ad801722-3630-4150-b0ec-869a968a57f8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</TotalTime>
  <Words>138</Words>
  <Application>Microsoft Office PowerPoint</Application>
  <PresentationFormat>On-screen Show (16:9)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rbel</vt:lpstr>
      <vt:lpstr>Helvetica</vt:lpstr>
      <vt:lpstr>Lucida Grande</vt:lpstr>
      <vt:lpstr>Segoe UI</vt:lpstr>
      <vt:lpstr>Wingdings</vt:lpstr>
      <vt:lpstr>03202017 Red Lion Template Test</vt:lpstr>
      <vt:lpstr>think-cell Slide</vt:lpstr>
      <vt:lpstr>Success Story | Water/Waste Water</vt:lpstr>
    </vt:vector>
  </TitlesOfParts>
  <Company>Red Lion Control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ccess Story | Water/Waste Water</dc:title>
  <dc:creator>Theresa Benson</dc:creator>
  <cp:lastModifiedBy>Don Kline</cp:lastModifiedBy>
  <cp:revision>4</cp:revision>
  <dcterms:created xsi:type="dcterms:W3CDTF">2017-04-27T21:56:07Z</dcterms:created>
  <dcterms:modified xsi:type="dcterms:W3CDTF">2018-04-03T19:4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1FD1CF094C594380632C8CFAC62E66</vt:lpwstr>
  </property>
  <property fmtid="{D5CDD505-2E9C-101B-9397-08002B2CF9AE}" pid="3" name="_dlc_DocIdItemGuid">
    <vt:lpwstr>83caa5e7-0f2b-4e99-bc9e-e97d3b485b6b</vt:lpwstr>
  </property>
</Properties>
</file>